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0"/>
  </p:notesMasterIdLst>
  <p:sldIdLst>
    <p:sldId id="269" r:id="rId8"/>
    <p:sldId id="297" r:id="rId9"/>
    <p:sldId id="266" r:id="rId10"/>
    <p:sldId id="441" r:id="rId11"/>
    <p:sldId id="462" r:id="rId12"/>
    <p:sldId id="463" r:id="rId13"/>
    <p:sldId id="452" r:id="rId14"/>
    <p:sldId id="444" r:id="rId15"/>
    <p:sldId id="465" r:id="rId16"/>
    <p:sldId id="453" r:id="rId17"/>
    <p:sldId id="454" r:id="rId18"/>
    <p:sldId id="455" r:id="rId19"/>
    <p:sldId id="419" r:id="rId20"/>
    <p:sldId id="445" r:id="rId21"/>
    <p:sldId id="456" r:id="rId22"/>
    <p:sldId id="436" r:id="rId23"/>
    <p:sldId id="457" r:id="rId24"/>
    <p:sldId id="464" r:id="rId25"/>
    <p:sldId id="459" r:id="rId26"/>
    <p:sldId id="460" r:id="rId27"/>
    <p:sldId id="446" r:id="rId28"/>
    <p:sldId id="461" r:id="rId29"/>
  </p:sldIdLst>
  <p:sldSz cx="9144000" cy="6858000" type="screen4x3"/>
  <p:notesSz cx="7104063" cy="10234613"/>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9650"/>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62" autoAdjust="0"/>
    <p:restoredTop sz="63911" autoAdjust="0"/>
  </p:normalViewPr>
  <p:slideViewPr>
    <p:cSldViewPr snapToObjects="1">
      <p:cViewPr varScale="1">
        <p:scale>
          <a:sx n="81" d="100"/>
          <a:sy n="81" d="100"/>
        </p:scale>
        <p:origin x="2664" y="84"/>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2" d="100"/>
          <a:sy n="72" d="100"/>
        </p:scale>
        <p:origin x="768"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4/3/5</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8644"/>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a:t>
            </a:r>
            <a:r>
              <a:rPr kumimoji="1" lang="en-US" altLang="ja-JP" dirty="0">
                <a:latin typeface="Meiryo UI" panose="020B0604030504040204" pitchFamily="50" charset="-128"/>
                <a:ea typeface="Meiryo UI" panose="020B0604030504040204" pitchFamily="50" charset="-128"/>
              </a:rPr>
              <a:t>SNS</a:t>
            </a:r>
            <a:r>
              <a:rPr kumimoji="1" lang="ja-JP" altLang="en-US" dirty="0">
                <a:latin typeface="Meiryo UI" panose="020B0604030504040204" pitchFamily="50" charset="-128"/>
                <a:ea typeface="Meiryo UI" panose="020B0604030504040204" pitchFamily="50" charset="-128"/>
              </a:rPr>
              <a:t>の使い方のご説明を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よろしくお願いいたします。</a:t>
            </a:r>
          </a:p>
          <a:p>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ご紹介する</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でも</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も使えますが、ご自分のスマートフォンにこのアプリが入っていない方は、講座の前に</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アプリをインストールする必要がありますのでご承知願い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pPr defTabSz="914491">
              <a:defRPr/>
            </a:pPr>
            <a:r>
              <a:rPr lang="ja-JP" altLang="en-US" sz="1800" dirty="0">
                <a:latin typeface="Meiryo UI"/>
                <a:ea typeface="Meiryo UI"/>
              </a:rPr>
              <a:t>講</a:t>
            </a:r>
            <a:r>
              <a:rPr lang="ja-JP" altLang="en-US" dirty="0">
                <a:latin typeface="Meiryo UI"/>
                <a:ea typeface="Meiryo UI"/>
              </a:rPr>
              <a:t>師の皆様は、講</a:t>
            </a:r>
            <a:r>
              <a:rPr lang="ja-JP" altLang="en-US" sz="1800" dirty="0">
                <a:latin typeface="Meiryo UI"/>
                <a:ea typeface="Meiryo UI"/>
              </a:rPr>
              <a:t>座開始時は参加者も固くなってしまいがちですので、しっかりと冒頭の挨拶にて明るく柔らかい雰囲気を作りましょう。</a:t>
            </a:r>
            <a:endParaRPr lang="en-US" altLang="ja-JP" sz="1800" dirty="0">
              <a:latin typeface="Meiryo UI"/>
              <a:ea typeface="Meiryo UI"/>
            </a:endParaRPr>
          </a:p>
          <a:p>
            <a:pPr defTabSz="914491">
              <a:defRPr/>
            </a:pPr>
            <a:endParaRPr lang="en-US" altLang="ja-JP" b="0" dirty="0">
              <a:latin typeface="Meiryo UI" panose="020B0604030504040204" pitchFamily="50" charset="-128"/>
              <a:ea typeface="Meiryo UI" panose="020B0604030504040204" pitchFamily="50" charset="-128"/>
            </a:endParaRPr>
          </a:p>
          <a:p>
            <a:pPr defTabSz="914491">
              <a:defRPr/>
            </a:pPr>
            <a:r>
              <a:rPr lang="ja-JP" altLang="en-US" b="0" dirty="0">
                <a:latin typeface="Meiryo UI" panose="020B0604030504040204" pitchFamily="50" charset="-128"/>
                <a:ea typeface="Meiryo UI" panose="020B0604030504040204" pitchFamily="50" charset="-128"/>
              </a:rPr>
              <a:t>また、「アイコン」や「タップ」といったカタカナ言葉を聞いて意欲が薄まってしまうことがよくありますので、</a:t>
            </a:r>
            <a:endParaRPr lang="en-US" altLang="ja-JP" b="0" dirty="0">
              <a:latin typeface="Meiryo UI" panose="020B0604030504040204" pitchFamily="50" charset="-128"/>
              <a:ea typeface="Meiryo UI" panose="020B0604030504040204" pitchFamily="50" charset="-128"/>
            </a:endParaRPr>
          </a:p>
          <a:p>
            <a:pPr defTabSz="914491">
              <a:defRPr/>
            </a:pPr>
            <a:endParaRPr lang="en-US" altLang="ja-JP" b="0" dirty="0">
              <a:latin typeface="Meiryo UI" panose="020B0604030504040204" pitchFamily="50" charset="-128"/>
              <a:ea typeface="Meiryo UI" panose="020B0604030504040204" pitchFamily="50" charset="-128"/>
            </a:endParaRPr>
          </a:p>
          <a:p>
            <a:pPr defTabSz="914491">
              <a:defRPr/>
            </a:pPr>
            <a:r>
              <a:rPr lang="ja-JP" altLang="en-US" b="0"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lang="en-US" altLang="ja-JP" b="0" dirty="0">
              <a:latin typeface="Meiryo UI" panose="020B0604030504040204" pitchFamily="50" charset="-128"/>
              <a:ea typeface="Meiryo UI" panose="020B0604030504040204" pitchFamily="50" charset="-128"/>
            </a:endParaRPr>
          </a:p>
          <a:p>
            <a:pPr defTabSz="914491">
              <a:defRPr/>
            </a:pPr>
            <a:endParaRPr lang="en-US" altLang="ja-JP" dirty="0">
              <a:latin typeface="Meiryo UI" panose="020B0604030504040204" pitchFamily="50" charset="-128"/>
              <a:ea typeface="Meiryo UI" panose="020B0604030504040204" pitchFamily="50" charset="-128"/>
            </a:endParaRPr>
          </a:p>
          <a:p>
            <a:pPr defTabSz="914491">
              <a:defRPr/>
            </a:pPr>
            <a:r>
              <a:rPr lang="ja-JP" altLang="en-US" dirty="0">
                <a:latin typeface="Meiryo UI" panose="020B0604030504040204" pitchFamily="50" charset="-128"/>
                <a:ea typeface="Meiryo UI" panose="020B0604030504040204" pitchFamily="50" charset="-128"/>
              </a:rPr>
              <a:t>もしくはカタカナ言葉が出てくる際にしっかりと説明を挟みましょう。</a:t>
            </a:r>
            <a:endParaRPr lang="en-US" altLang="ja-JP" dirty="0">
              <a:latin typeface="Meiryo UI" panose="020B0604030504040204" pitchFamily="50" charset="-128"/>
              <a:ea typeface="Meiryo UI" panose="020B0604030504040204" pitchFamily="50" charset="-128"/>
            </a:endParaRPr>
          </a:p>
          <a:p>
            <a:pPr defTabSz="914491">
              <a:defRPr/>
            </a:pPr>
            <a:endParaRPr lang="en-US" altLang="ja-JP" dirty="0">
              <a:latin typeface="Meiryo UI" panose="020B0604030504040204" pitchFamily="50" charset="-128"/>
              <a:ea typeface="Meiryo UI" panose="020B0604030504040204" pitchFamily="50" charset="-128"/>
            </a:endParaRPr>
          </a:p>
          <a:p>
            <a:pPr defTabSz="914491">
              <a:defRPr/>
            </a:pPr>
            <a:r>
              <a:rPr lang="ja-JP" altLang="en-US" dirty="0">
                <a:latin typeface="Meiryo UI" panose="020B0604030504040204" pitchFamily="50" charset="-128"/>
                <a:ea typeface="Meiryo UI" panose="020B0604030504040204" pitchFamily="50" charset="-128"/>
              </a:rPr>
              <a:t>講座中にホワイトボード等に書きながら説明するとより解りやすくなり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pPr indent="9334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972441"/>
          </a:xfrm>
        </p:spPr>
        <p:txBody>
          <a:bodyPr/>
          <a:lstStyle/>
          <a:p>
            <a:pPr indent="81853"/>
            <a:r>
              <a:rPr lang="ja-JP" altLang="en-US" dirty="0">
                <a:latin typeface="Meiryo UI" panose="020B0604030504040204" pitchFamily="50" charset="-128"/>
                <a:ea typeface="Meiryo UI" panose="020B0604030504040204" pitchFamily="50" charset="-128"/>
              </a:rPr>
              <a:t>「アカウントを新規登録」という画面が表示され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に名前を入力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上に「カメラ」のマークがあり押すとプロフィール写真をつけることができますが、</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の講座では写真をつけませんので、お名前を入力したら緑色の②の 「→」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パスワードを登録」という画面が表示されますので、半角英大文字、半角英小文字、</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半角数字、記号のうち三種類以上を含めた８文字以上のパスワードを２回入力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２回入力するのは入力間違いを防ぐためです。忘れないように記憶しておいて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入力を終えたら④の緑色の右矢印ボタン「→」 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講座の中では写真を載せませんが、後から写真を追加することが可能であるとご説明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際は、新しくその場で撮影するか撮影済みの画像を使用するかの画面になることをご理解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パスワードを設定する際には、悪用される恐れがあるため絶対に他人にパスワードを教えないよう、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762115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897745"/>
          </a:xfrm>
        </p:spPr>
        <p:txBody>
          <a:bodyPr/>
          <a:lstStyle/>
          <a:p>
            <a:pPr indent="81853"/>
            <a:r>
              <a:rPr lang="ja-JP" altLang="en-US" dirty="0">
                <a:latin typeface="Meiryo UI" panose="020B0604030504040204" pitchFamily="50" charset="-128"/>
                <a:ea typeface="Meiryo UI" panose="020B0604030504040204" pitchFamily="50" charset="-128"/>
              </a:rPr>
              <a:t>次に、「友だち追加設定」という画面になり、</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自動追加」と「友だちへの追加を許可」の設定を行いますが、この設定は後から必要に応じてオンにすることができ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ため今回はとくに設定せず、②のように両方とも ✔ チェックを外し、オフにしておくように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自動追加」とは、スマートフォンの電話帳に登録している人を</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に自動的に登録をす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やり取りをするためには「友だち」に登録をする必要があ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への追加を許可」は、あなたの電話番号を知っている人が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の友だち登録をしたり、電話番号による検索を許可す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らの機能は便利ではありますが、反面知らない人も友だちとして登録されてしまい困る場合もありますので、オンにする場合はご注意ください。</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おける「友だち」とは、連絡帳に連絡先が登録されている人のイメージに近いとご説明ください。</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87366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81853"/>
            <a:r>
              <a:rPr lang="ja-JP" altLang="en-US" dirty="0">
                <a:latin typeface="Meiryo UI" panose="020B0604030504040204" pitchFamily="50" charset="-128"/>
                <a:ea typeface="Meiryo UI" panose="020B0604030504040204" pitchFamily="50" charset="-128"/>
              </a:rPr>
              <a:t>次に年齢確認の画面になりますが、この項目は任意で後から設定可能なので、「あとで」をタップ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サービス向上のための情報利用に関するお願い」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も任意ですので、同意／非同意どちらでも構いません。差し支えなければ「同意する」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年齢確認を行わないと一部機能が利用できないためご注意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で「</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登録は終了です。</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12690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81853"/>
            <a:r>
              <a:rPr lang="ja-JP" altLang="en-US" dirty="0">
                <a:latin typeface="Meiryo UI" panose="020B0604030504040204" pitchFamily="50" charset="-128"/>
                <a:ea typeface="Meiryo UI" panose="020B0604030504040204" pitchFamily="50" charset="-128"/>
              </a:rPr>
              <a:t>次に実際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のご説明をいた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先ほども少しご説明しましたが、</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やり取りをするためには「友だち」登録をする必要があり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の登録方法はいくつかありますが、まず一番簡単なＱＲコードを使った友だちの追加方法をご説明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登録する人のスマートフォンの画面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必要があるので対面した同じ場所にいる必要があ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ず、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アイコンを押し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画面右上の歯車マークの左に①の ‘人のマークに＋’ が書かれたボタンがありますので、それ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という画面になりますので、②の「ＱＲコード」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画面になり「マイＱＲコード」という表示が有りますのでそれをタップすると、自分のＱＲコード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自分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友だち」登録をする相手のスマートフォンから読み取ってもらい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近くにいる友だちの追加に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という二次元コードを利用することが必要である点を先にご説明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通常のメール等における連絡先追加の手順とは異なり、戸惑う受講者の方もいらっしゃるかもしれませんが、慣れれば手でメールアドレス等を入力するよりも便利である点をお伝え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側の方の操作方法をご案内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前のページ③と同じやり方で、「マイ</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表示が出る画面まで進み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の画面はカメラが起動していてＱＲコードの読み取りができますので、四隅の白枠の中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収まるように、スマートフォンに表示している相手のＱＲコードを映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読み取りが成功すると、画面に登録する人の名前とともに、⑤のような「追加」というアイコンが表示されますので、これをタップする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登録が完了です。登録された人は「友だちリスト」に追加されてい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同じ操作を</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表示する人と読み取る人を交代して行うことで互い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友だち」へ追加をする事ができ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テキストの右側に愛知県</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公式アカウント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ありますので、可能な方は読み取りして友だち追加してみてみましょう。</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各種公式ラインを友だち登録した際に、通知が不要な場合は、該当のトークルームの右上の「三」をタップし、画面上部の「通知オフ」をタップして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うまくいかない場合には、スマートフォン同士を近づけたり離したり、読み取られる側のスマートフォンを机の上に置いたりするようにご案内ください。</a:t>
            </a:r>
          </a:p>
          <a:p>
            <a:pPr indent="97798"/>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削除の方法を聞かれた場合のみ説明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defTabSz="914491">
              <a:defRPr/>
            </a:pPr>
            <a:r>
              <a:rPr lang="ja-JP" altLang="en-US" dirty="0">
                <a:latin typeface="Meiryo UI" panose="020B0604030504040204" pitchFamily="50" charset="-128"/>
                <a:ea typeface="Meiryo UI" panose="020B0604030504040204" pitchFamily="50" charset="-128"/>
              </a:rPr>
              <a:t>一度削除すると、再度友だち追加しないとやりとりができなくなりますので、やりとりしていた友だちの削除は慎重に行って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の削除はいきなりできず、友だちをブロックもしくは非表示にしてからでないとできません。</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こではブロックしてから削除する方法を説明し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トーク」画面より該当の友だちのトークルームを開いて、右上の「三」をタップし、画面上部の「ブロック」をタップしてください。</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画面左下の「ホーム」→画面右上の「歯車マーク」→「友だち」→「ブロックリスト」→「編集」→ブロック解除と削除の</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択が表示されますが「削除」をタップすることで、友だちが削除され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最後にもう一度「トーク」画面に戻り、先ほど削除した友だちを長押して「削除」をタップしてください。「削除の確認」のメッセージが表示されますが、「はい」をタップするとトークルームからも削除され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1730284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次にメールを使って「友だち登録」を行う方法をご説明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メールを使用することで、直接</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をしなくても登録ができるので、離れた人と直接会わずに「友だち」登録ができ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メールでの「友だち登録」の方法ですが、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イコンをタップ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アプリが起動したら左下の「ホーム」を押して画面右上に ‘人のマークに＋’ が書かれた①のアイコンがありますので、それ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という画面になりますので、②「招待」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画面に「招待方法」という表示が有りますので今回は「メールアドレス」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電話帳に登録している人の一覧が表示されますので、追加したい人の名前の右側にある「＋招待」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ここで紹介している方法は、近くにいて</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できない場合の手順ではありますが、もちろん近くにいる人とも同じ方法で招待することが可能である点、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81853"/>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はメールのアプリが自動的に起動し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添付したメールが作成されますので、そのまま送信をタップする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招待メールが送信され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は、画面下部に送信する方法を選択する画面が表示されますので今回は⑤のように「</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選択してご説明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機種によってはこの一覧が表示されない場合がありますが、その時は「その他」をタップすると「</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が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と同じく自動で</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記載されたメールが作成されるので、⑥送信ボタンをタップして送信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登録をする相手の方はこのメールを受け取ったら、前の項目でやったやり方で</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と、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が起動し「友だちを追加」画面が表示されますので、相手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あなたが友だちとして追加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以外にも「検索」機能で相手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電話番号を検索して登録する方法もありますが、利用にあたって年齢確認が必要にな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相手が「検索」のための設定をしていないと使えない方法なので、メール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直接読み取ってもらうやり方が確実で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段階ではまだあなた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は、相手の方が友だちとしては登録されていません。次はその登録方法についてご説明し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メールを受け取った相手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はなく、メールソフトでの確認が必要になるという点をご説明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71289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先ほどご説明したとおりあなたのスマートフォンにはまだ相手の方が登録されていません。</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が承認するとホーム画面に、「知り合いかも？」というリストの中に前のページの相手の名前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知り合いかも？」とは、「あなたのことを友だち追加しているが、あなたはまだ友だち追加していない」ということを表示し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登録した相手の人はまさにこの状態なので、この「知り合いかも？」に表示され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側で相手を承認するためにはまず①のアイコン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画面になりますので、リストの中の友だち候補から、追加したい人の名前の右側にある②「友だち追加」ボタン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であなたの友だちリストの中に、相手の方を登録できましたので、ようやくお互いに連絡をやりとりができる状態になりました。</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余裕があれば、グループを作成することで複数人と同時に連絡をやりとりすることもできる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199270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それではいよいよトークを開始しましょう。</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トークとは、相手と文章で簡単にやり取りでき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初めてトークをするには①の友だちの名前をタップ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リスト」が表示されるので②のトークをしたい相手の名前をタップ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左下にある③の「トーク」ボタンをタップ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一度過去にトークをした人は、画面左下のトークボタンをタップすると過去のやりとりの一覧が表示されるので、ここから相手の名前をタップしてトークすることも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4576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設定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について学びます。</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81853"/>
            <a:r>
              <a:rPr lang="ja-JP" altLang="en-US" dirty="0">
                <a:latin typeface="Meiryo UI" panose="020B0604030504040204" pitchFamily="50" charset="-128"/>
                <a:ea typeface="Meiryo UI" panose="020B0604030504040204" pitchFamily="50" charset="-128"/>
              </a:rPr>
              <a:t>一番下にある①のグレーの枠をタップしてください。こちらに文章を入力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枠をタップすると文字入力が出来るので、送りたい文章を入力し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文章を入力したら③の紙飛行機の形をした「送信」ボタン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送信されると④のように右側に緑の枠であなたが送ったメッセージ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から送られてくるメッセージは画面左側に⑤のように白い枠の中に表示され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文字入力が苦手な受講者の方に、ボイスメッセージ機能を利用することが可能であるとご説明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8104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81853"/>
            <a:r>
              <a:rPr lang="ja-JP" altLang="en-US" dirty="0">
                <a:latin typeface="Meiryo UI" panose="020B0604030504040204" pitchFamily="50" charset="-128"/>
                <a:ea typeface="Meiryo UI" panose="020B0604030504040204" pitchFamily="50" charset="-128"/>
              </a:rPr>
              <a:t>画像を付けて送信することも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像を送るには、①の写真の形をした「画像」ボタンをタップ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スマートフォンで撮った写真が新しい順番で一覧で表示されますので、送りたい画像をタップし、③の「送信」をタップ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すると④のように写真を相手に簡単に送信することが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以上、基本的な</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についてご説明をしました。</a:t>
            </a: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は動画を送ったりテレビ電話ができる等の様々な機能がありますが、今回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ご説明はこれで終了とさせていただ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76016"/>
            <a:ext cx="5683250" cy="5495313"/>
          </a:xfrm>
        </p:spPr>
        <p:txBody>
          <a:bodyPr/>
          <a:lstStyle/>
          <a:p>
            <a:pPr indent="91298"/>
            <a:r>
              <a:rPr lang="ja-JP" altLang="en-US" dirty="0">
                <a:latin typeface="Meiryo UI" panose="020B0604030504040204" pitchFamily="50" charset="-128"/>
                <a:ea typeface="Meiryo UI" panose="020B0604030504040204" pitchFamily="50" charset="-128"/>
              </a:rPr>
              <a:t>最後に</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の注意点についてお伝えいたし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とはソーシャルネットワーキングサービスの略で、インターネット上で人と交流を手軽に行えるサービス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今回ご紹介した</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以外にも</a:t>
            </a:r>
            <a:r>
              <a:rPr lang="en-US" altLang="ja-JP" dirty="0">
                <a:latin typeface="Meiryo UI" panose="020B0604030504040204" pitchFamily="50" charset="-128"/>
                <a:ea typeface="Meiryo UI" panose="020B0604030504040204" pitchFamily="50" charset="-128"/>
              </a:rPr>
              <a:t>X</a:t>
            </a:r>
            <a:r>
              <a:rPr lang="ja-JP" altLang="en-US" dirty="0">
                <a:latin typeface="Meiryo UI" panose="020B0604030504040204" pitchFamily="50" charset="-128"/>
                <a:ea typeface="Meiryo UI" panose="020B0604030504040204" pitchFamily="50" charset="-128"/>
              </a:rPr>
              <a:t>（旧</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など様々なサービスがあり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情報が手軽に手に入る反面、情報の真偽が不明の場合も多い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また情報の発信も手軽なため、思わぬところから個人情報が流出する可能性もあり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は以上の事柄を踏まえた上で十分に注意して楽しく利用しましょう。</a:t>
            </a:r>
          </a:p>
          <a:p>
            <a:pPr indent="91298"/>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a:latin typeface="Meiryo UI" panose="020B0604030504040204" pitchFamily="50" charset="-128"/>
                <a:ea typeface="Meiryo UI" panose="020B0604030504040204" pitchFamily="50" charset="-128"/>
              </a:rPr>
              <a:t>】</a:t>
            </a:r>
          </a:p>
          <a:p>
            <a:pPr indent="91298"/>
            <a:endParaRPr lang="en-US" altLang="ja-JP"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はとても便利で楽しいものである反面、情報の流出には十分注意する必要があることをご説明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384324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この章で説明する手順は、初めて</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の手順であ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回目以降</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は、同じ操作を行う必要がないことをお伝え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81853"/>
            <a:r>
              <a:rPr lang="ja-JP" altLang="en-US" dirty="0">
                <a:latin typeface="Meiryo UI" panose="020B0604030504040204" pitchFamily="50" charset="-128"/>
                <a:ea typeface="Meiryo UI" panose="020B0604030504040204" pitchFamily="50" charset="-128"/>
              </a:rPr>
              <a:t>ＳＮＳとは、ソーシャル・ネットワーキング・サービスの略で、人と交流をはかるためのインターネット上のサービスのことで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X</a:t>
            </a:r>
            <a:r>
              <a:rPr lang="ja-JP" altLang="en-US" dirty="0">
                <a:latin typeface="Meiryo UI" panose="020B0604030504040204" pitchFamily="50" charset="-128"/>
                <a:ea typeface="Meiryo UI" panose="020B0604030504040204" pitchFamily="50" charset="-128"/>
              </a:rPr>
              <a:t>（旧</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など様々なサービスがありますが、今回は、利用者の多い</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ご紹介し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使えば、無料電話やトーク等を楽しく使うことが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利用するには、まず最初にアプリをインストールする必要があ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インストール」とはスマートフォン等の機械の中に機能や必要なソフトを「取り込む」ことを指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近い言葉で「ダウンロード」というものもあります。</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はじめとするＳＮＳで重大な情報をやり取りしない方が無難です。」とお伝え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ＳＮＳを利用する際の注意点は、本教材の最後でも説明しています。</a:t>
            </a: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利用する際の注意点は、本教材の最後でも説明してい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77425"/>
            <a:ext cx="5683250" cy="5309205"/>
          </a:xfrm>
        </p:spPr>
        <p:txBody>
          <a:bodyPr/>
          <a:lstStyle/>
          <a:p>
            <a:pPr indent="78396"/>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インストールの仕方についてご説明いたします。</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の手順をご案内します。</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ホーム画面で、①の「</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を押してください。</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②「アプリやゲームを検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記載されたグレーの枠をタップしてください。</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③検索文章の入力箇所に「らいん」と入力</a:t>
            </a:r>
            <a:r>
              <a:rPr lang="ja-JP" altLang="en-US" b="0" dirty="0">
                <a:latin typeface="Meiryo UI" panose="020B0604030504040204" pitchFamily="50" charset="-128"/>
                <a:ea typeface="Meiryo UI" panose="020B0604030504040204" pitchFamily="50" charset="-128"/>
              </a:rPr>
              <a:t>し、検索します。</a:t>
            </a:r>
            <a:endParaRPr lang="en-US" altLang="ja-JP" b="0"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④</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詳細画面が表示されますので、真ん中あたりにある緑色の「インストール」をタップして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すぐに、インストールが始ま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8742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25"/>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講師の皆様は、受講者の皆様が問題なくアプリをインストールできているかを確認してから、先に進めて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のインストールの方法をご説明いた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ホーム画面で①の「</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をタップして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右下にある虫メガネマークの「検索」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検索文章の入力箇所に「らいん」と入力し、検索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検索結果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が表示されますので、右側「入手」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 インストールが完了すると、「入手」の欄が「開く」に変わります。</a:t>
            </a:r>
          </a:p>
          <a:p>
            <a:endParaRPr lang="ja-JP" altLang="en-US"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23597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インストールが終わりました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利用登録を行い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以降は一部の表示が若干異なりますが、 </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も</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も手順は同じ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ず最初にホーム画面で①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アイコンをタップ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表示される「</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ようこそ」画面で②の「新規登録」をタップ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端末の電話番号を入力」と表示されている画面で、ご自身の携帯電話番号を③に入力して、④の緑色の右矢印 「→」 ボタンをタップしてください。</a:t>
            </a:r>
          </a:p>
          <a:p>
            <a:pPr indent="78381"/>
            <a:endParaRPr lang="ja-JP" altLang="en-US"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93814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81853"/>
            <a:r>
              <a:rPr lang="ja-JP" altLang="en-US" dirty="0">
                <a:latin typeface="Meiryo UI" panose="020B0604030504040204" pitchFamily="50" charset="-128"/>
                <a:ea typeface="Meiryo UI" panose="020B0604030504040204" pitchFamily="50" charset="-128"/>
              </a:rPr>
              <a:t>すると⑤のようなメッセージが表示されますので、「送信」をタップ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送信」をタップするとお使いのスマートフォンにショートメールが届き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ホーム画面に戻り、「メッセージ」をタップする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からショートメッセージが届き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文面の中に６桁の数字の認証番号が書いてありますので、番号を確認します。</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受講者の皆様にいったんホーム画面に戻って、ＳＭＳに認証番号が届いているかどうかを確認するようお伝え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画面のままでは認証番号を確認することが出来ませんのでご注意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81853"/>
            <a:r>
              <a:rPr lang="ja-JP" altLang="en-US" dirty="0">
                <a:latin typeface="Meiryo UI" panose="020B0604030504040204" pitchFamily="50" charset="-128"/>
                <a:ea typeface="Meiryo UI" panose="020B0604030504040204" pitchFamily="50" charset="-128"/>
              </a:rPr>
              <a:t>確認したら、ホーム画面に戻り再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タップ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先ほど確認した番号を⑨に入力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が変わりますので⑩「アカウントを新規作成」をタップします。</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機種によっては自動的に認証番号を認識してくれるものもあり、その際には入力がいらなくなることをご認識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462855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3/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4/3/5</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4/3/5</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4/3/5</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D9E3D34-D378-9C59-7329-55410F093B6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96A0EA03-52DD-4BEB-BA30-C9C12969715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20697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AA07DC4F-7819-E98C-10AC-7AA07D3C445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12328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CD6B8BE-9C83-CE5C-62E5-2503CCAF43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7954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3024541-0733-D2DE-BB78-4D3017DDB6A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4" name="図 33">
            <a:extLst>
              <a:ext uri="{FF2B5EF4-FFF2-40B4-BE49-F238E27FC236}">
                <a16:creationId xmlns:a16="http://schemas.microsoft.com/office/drawing/2014/main" id="{1A3A11FE-6CBB-E115-7B02-23F4282BF7D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5" name="図 34">
            <a:extLst>
              <a:ext uri="{FF2B5EF4-FFF2-40B4-BE49-F238E27FC236}">
                <a16:creationId xmlns:a16="http://schemas.microsoft.com/office/drawing/2014/main" id="{949F99AB-8CDC-245F-82A0-A470FD297A1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20394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742D0366-9CF3-E246-55C4-E36B8E4283E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FF719F14-E531-55C9-E997-A511394E34E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8212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9BF5F59-85D5-21B8-6389-9C82CF72B1D4}"/>
              </a:ext>
            </a:extLst>
          </p:cNvPr>
          <p:cNvPicPr/>
          <p:nvPr/>
        </p:nvPicPr>
        <p:blipFill>
          <a:blip r:embed="rId6"/>
          <a:stretch>
            <a:fillRect/>
          </a:stretch>
        </p:blipFill>
        <p:spPr>
          <a:xfrm>
            <a:off x="0" y="101600"/>
            <a:ext cx="9144000" cy="6858000"/>
          </a:xfrm>
          <a:prstGeom prst="rect">
            <a:avLst/>
          </a:prstGeom>
        </p:spPr>
      </p:pic>
    </p:spTree>
    <p:extLst>
      <p:ext uri="{BB962C8B-B14F-4D97-AF65-F5344CB8AC3E}">
        <p14:creationId xmlns:p14="http://schemas.microsoft.com/office/powerpoint/2010/main" val="4015732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64362E1-D0C3-F017-B147-61A1ED0FACC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64301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846CA48-3A69-CAF8-4810-3E3C3204E68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E648A8D-F65F-639F-D6B4-933735D852C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82217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8A2F3DC-0C21-96AA-0CC1-9127CC24CB0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D043962-E9D3-377F-31DB-F9DD790736D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77360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64529C2-0139-EAD3-030B-D83F7917D36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A6161836-AD77-4E21-02C6-9772A4D77A1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A2C6D03C-F2F7-4433-41EB-79160E693E8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a:extLst>
              <a:ext uri="{FF2B5EF4-FFF2-40B4-BE49-F238E27FC236}">
                <a16:creationId xmlns:a16="http://schemas.microsoft.com/office/drawing/2014/main" id="{6BDE8C3E-3100-AA3A-1AAC-5C5F95F4A71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23033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556E501-4765-D494-07A2-F2CB952F537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72974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DF28471-0821-D2A4-EE2E-48726DD9B2E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43CBBA51-D6D2-594C-6581-BF0D59623F6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18953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deba4b51-64a5-4b77-ab7f-812b7f55eafa"/>
    <ds:schemaRef ds:uri="http://schemas.microsoft.com/office/2006/metadata/properties"/>
    <ds:schemaRef ds:uri="http://schemas.openxmlformats.org/package/2006/metadata/core-properties"/>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725</Words>
  <Application>Microsoft Office PowerPoint</Application>
  <PresentationFormat>画面に合わせる (4:3)</PresentationFormat>
  <Paragraphs>354</Paragraphs>
  <Slides>22</Slides>
  <Notes>22</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22</vt:i4>
      </vt:variant>
    </vt:vector>
  </HeadingPairs>
  <TitlesOfParts>
    <vt:vector size="34"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05T07:2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